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4" pos="3432" userDrawn="1">
          <p15:clr>
            <a:srgbClr val="A4A3A4"/>
          </p15:clr>
        </p15:guide>
        <p15:guide id="15"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4B5990-F404-42ED-8DFB-1F9F3CB53222}" v="49" dt="2023-03-11T22:27:42.8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orient="horz" pos="3840"/>
        <p:guide orient="horz" pos="816"/>
        <p:guide orient="horz" pos="1032"/>
        <p:guide orient="horz" pos="3600"/>
        <p:guide pos="3432"/>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FA4B5990-F404-42ED-8DFB-1F9F3CB53222}"/>
    <pc:docChg chg="modSld">
      <pc:chgData name="Roberto Gallardo" userId="49a044883f185952" providerId="LiveId" clId="{FA4B5990-F404-42ED-8DFB-1F9F3CB53222}" dt="2023-03-11T22:27:53.906" v="208" actId="1076"/>
      <pc:docMkLst>
        <pc:docMk/>
      </pc:docMkLst>
      <pc:sldChg chg="addSp modSp mod">
        <pc:chgData name="Roberto Gallardo" userId="49a044883f185952" providerId="LiveId" clId="{FA4B5990-F404-42ED-8DFB-1F9F3CB53222}" dt="2023-03-11T22:22:51.321" v="7" actId="1076"/>
        <pc:sldMkLst>
          <pc:docMk/>
          <pc:sldMk cId="1418533539" sldId="271"/>
        </pc:sldMkLst>
        <pc:picChg chg="add mod">
          <ac:chgData name="Roberto Gallardo" userId="49a044883f185952" providerId="LiveId" clId="{FA4B5990-F404-42ED-8DFB-1F9F3CB53222}" dt="2023-03-11T22:22:51.321" v="7" actId="1076"/>
          <ac:picMkLst>
            <pc:docMk/>
            <pc:sldMk cId="1418533539" sldId="271"/>
            <ac:picMk id="6" creationId="{8CCEFA3A-8C38-CBB9-01D0-584F4A211171}"/>
          </ac:picMkLst>
        </pc:picChg>
      </pc:sldChg>
      <pc:sldChg chg="addSp modSp mod">
        <pc:chgData name="Roberto Gallardo" userId="49a044883f185952" providerId="LiveId" clId="{FA4B5990-F404-42ED-8DFB-1F9F3CB53222}" dt="2023-03-11T22:24:39.178" v="82" actId="1035"/>
        <pc:sldMkLst>
          <pc:docMk/>
          <pc:sldMk cId="2124848710" sldId="281"/>
        </pc:sldMkLst>
        <pc:picChg chg="add mod">
          <ac:chgData name="Roberto Gallardo" userId="49a044883f185952" providerId="LiveId" clId="{FA4B5990-F404-42ED-8DFB-1F9F3CB53222}" dt="2023-03-11T22:24:39.178" v="82" actId="1035"/>
          <ac:picMkLst>
            <pc:docMk/>
            <pc:sldMk cId="2124848710" sldId="281"/>
            <ac:picMk id="6" creationId="{97EEAE55-9BCA-D2E7-FF70-618E4A8F71CA}"/>
          </ac:picMkLst>
        </pc:picChg>
      </pc:sldChg>
      <pc:sldChg chg="addSp modSp mod">
        <pc:chgData name="Roberto Gallardo" userId="49a044883f185952" providerId="LiveId" clId="{FA4B5990-F404-42ED-8DFB-1F9F3CB53222}" dt="2023-03-11T22:24:54.598" v="90" actId="1076"/>
        <pc:sldMkLst>
          <pc:docMk/>
          <pc:sldMk cId="2028175529" sldId="282"/>
        </pc:sldMkLst>
        <pc:picChg chg="add mod">
          <ac:chgData name="Roberto Gallardo" userId="49a044883f185952" providerId="LiveId" clId="{FA4B5990-F404-42ED-8DFB-1F9F3CB53222}" dt="2023-03-11T22:24:54.598" v="90" actId="1076"/>
          <ac:picMkLst>
            <pc:docMk/>
            <pc:sldMk cId="2028175529" sldId="282"/>
            <ac:picMk id="7" creationId="{4C54709A-0685-5E8D-6020-3628A064997D}"/>
          </ac:picMkLst>
        </pc:picChg>
      </pc:sldChg>
      <pc:sldChg chg="addSp modSp mod">
        <pc:chgData name="Roberto Gallardo" userId="49a044883f185952" providerId="LiveId" clId="{FA4B5990-F404-42ED-8DFB-1F9F3CB53222}" dt="2023-03-11T22:25:09.457" v="100" actId="1076"/>
        <pc:sldMkLst>
          <pc:docMk/>
          <pc:sldMk cId="1326517747" sldId="283"/>
        </pc:sldMkLst>
        <pc:picChg chg="add mod">
          <ac:chgData name="Roberto Gallardo" userId="49a044883f185952" providerId="LiveId" clId="{FA4B5990-F404-42ED-8DFB-1F9F3CB53222}" dt="2023-03-11T22:25:09.457" v="100" actId="1076"/>
          <ac:picMkLst>
            <pc:docMk/>
            <pc:sldMk cId="1326517747" sldId="283"/>
            <ac:picMk id="7" creationId="{038BA8DD-EF8D-D9F0-09F4-F001F2CC897F}"/>
          </ac:picMkLst>
        </pc:picChg>
      </pc:sldChg>
      <pc:sldChg chg="addSp modSp mod">
        <pc:chgData name="Roberto Gallardo" userId="49a044883f185952" providerId="LiveId" clId="{FA4B5990-F404-42ED-8DFB-1F9F3CB53222}" dt="2023-03-11T22:25:26.602" v="111" actId="1076"/>
        <pc:sldMkLst>
          <pc:docMk/>
          <pc:sldMk cId="783739251" sldId="284"/>
        </pc:sldMkLst>
        <pc:picChg chg="add mod">
          <ac:chgData name="Roberto Gallardo" userId="49a044883f185952" providerId="LiveId" clId="{FA4B5990-F404-42ED-8DFB-1F9F3CB53222}" dt="2023-03-11T22:25:26.602" v="111" actId="1076"/>
          <ac:picMkLst>
            <pc:docMk/>
            <pc:sldMk cId="783739251" sldId="284"/>
            <ac:picMk id="7" creationId="{55272045-5D10-B53E-E74B-19DD8EBDCD4A}"/>
          </ac:picMkLst>
        </pc:picChg>
      </pc:sldChg>
      <pc:sldChg chg="addSp modSp mod">
        <pc:chgData name="Roberto Gallardo" userId="49a044883f185952" providerId="LiveId" clId="{FA4B5990-F404-42ED-8DFB-1F9F3CB53222}" dt="2023-03-11T22:25:41.073" v="120" actId="1076"/>
        <pc:sldMkLst>
          <pc:docMk/>
          <pc:sldMk cId="1676122233" sldId="285"/>
        </pc:sldMkLst>
        <pc:picChg chg="add mod">
          <ac:chgData name="Roberto Gallardo" userId="49a044883f185952" providerId="LiveId" clId="{FA4B5990-F404-42ED-8DFB-1F9F3CB53222}" dt="2023-03-11T22:25:41.073" v="120" actId="1076"/>
          <ac:picMkLst>
            <pc:docMk/>
            <pc:sldMk cId="1676122233" sldId="285"/>
            <ac:picMk id="7" creationId="{B15AA919-3B80-9165-ACFD-76074D62EF21}"/>
          </ac:picMkLst>
        </pc:picChg>
      </pc:sldChg>
      <pc:sldChg chg="addSp modSp mod">
        <pc:chgData name="Roberto Gallardo" userId="49a044883f185952" providerId="LiveId" clId="{FA4B5990-F404-42ED-8DFB-1F9F3CB53222}" dt="2023-03-11T22:26:06.778" v="134" actId="1076"/>
        <pc:sldMkLst>
          <pc:docMk/>
          <pc:sldMk cId="3100398757" sldId="286"/>
        </pc:sldMkLst>
        <pc:picChg chg="add mod">
          <ac:chgData name="Roberto Gallardo" userId="49a044883f185952" providerId="LiveId" clId="{FA4B5990-F404-42ED-8DFB-1F9F3CB53222}" dt="2023-03-11T22:26:06.778" v="134" actId="1076"/>
          <ac:picMkLst>
            <pc:docMk/>
            <pc:sldMk cId="3100398757" sldId="286"/>
            <ac:picMk id="7" creationId="{9738DC59-AD72-2DAD-EA92-E76ECF396A2A}"/>
          </ac:picMkLst>
        </pc:picChg>
      </pc:sldChg>
      <pc:sldChg chg="addSp modSp mod">
        <pc:chgData name="Roberto Gallardo" userId="49a044883f185952" providerId="LiveId" clId="{FA4B5990-F404-42ED-8DFB-1F9F3CB53222}" dt="2023-03-11T22:26:19.771" v="142" actId="1076"/>
        <pc:sldMkLst>
          <pc:docMk/>
          <pc:sldMk cId="1546475425" sldId="287"/>
        </pc:sldMkLst>
        <pc:picChg chg="add mod">
          <ac:chgData name="Roberto Gallardo" userId="49a044883f185952" providerId="LiveId" clId="{FA4B5990-F404-42ED-8DFB-1F9F3CB53222}" dt="2023-03-11T22:26:19.771" v="142" actId="1076"/>
          <ac:picMkLst>
            <pc:docMk/>
            <pc:sldMk cId="1546475425" sldId="287"/>
            <ac:picMk id="7" creationId="{764E0C79-2343-3746-4C8E-74B1DD5FEA61}"/>
          </ac:picMkLst>
        </pc:picChg>
      </pc:sldChg>
      <pc:sldChg chg="addSp modSp mod">
        <pc:chgData name="Roberto Gallardo" userId="49a044883f185952" providerId="LiveId" clId="{FA4B5990-F404-42ED-8DFB-1F9F3CB53222}" dt="2023-03-11T22:26:49.524" v="162" actId="1076"/>
        <pc:sldMkLst>
          <pc:docMk/>
          <pc:sldMk cId="1380517306" sldId="288"/>
        </pc:sldMkLst>
        <pc:picChg chg="add mod">
          <ac:chgData name="Roberto Gallardo" userId="49a044883f185952" providerId="LiveId" clId="{FA4B5990-F404-42ED-8DFB-1F9F3CB53222}" dt="2023-03-11T22:26:49.524" v="162" actId="1076"/>
          <ac:picMkLst>
            <pc:docMk/>
            <pc:sldMk cId="1380517306" sldId="288"/>
            <ac:picMk id="7" creationId="{F7863EBD-133F-14BA-9FDF-BE6B2133EBA9}"/>
          </ac:picMkLst>
        </pc:picChg>
      </pc:sldChg>
      <pc:sldChg chg="addSp modSp mod">
        <pc:chgData name="Roberto Gallardo" userId="49a044883f185952" providerId="LiveId" clId="{FA4B5990-F404-42ED-8DFB-1F9F3CB53222}" dt="2023-03-11T22:27:03.125" v="171" actId="1076"/>
        <pc:sldMkLst>
          <pc:docMk/>
          <pc:sldMk cId="1388671151" sldId="289"/>
        </pc:sldMkLst>
        <pc:picChg chg="add mod">
          <ac:chgData name="Roberto Gallardo" userId="49a044883f185952" providerId="LiveId" clId="{FA4B5990-F404-42ED-8DFB-1F9F3CB53222}" dt="2023-03-11T22:27:03.125" v="171" actId="1076"/>
          <ac:picMkLst>
            <pc:docMk/>
            <pc:sldMk cId="1388671151" sldId="289"/>
            <ac:picMk id="7" creationId="{8B4E6FD9-42BC-D57A-BF7C-96F9D1C41A4E}"/>
          </ac:picMkLst>
        </pc:picChg>
      </pc:sldChg>
      <pc:sldChg chg="addSp modSp mod">
        <pc:chgData name="Roberto Gallardo" userId="49a044883f185952" providerId="LiveId" clId="{FA4B5990-F404-42ED-8DFB-1F9F3CB53222}" dt="2023-03-11T22:27:36.966" v="196" actId="1076"/>
        <pc:sldMkLst>
          <pc:docMk/>
          <pc:sldMk cId="2355376039" sldId="290"/>
        </pc:sldMkLst>
        <pc:picChg chg="add mod">
          <ac:chgData name="Roberto Gallardo" userId="49a044883f185952" providerId="LiveId" clId="{FA4B5990-F404-42ED-8DFB-1F9F3CB53222}" dt="2023-03-11T22:27:36.966" v="196" actId="1076"/>
          <ac:picMkLst>
            <pc:docMk/>
            <pc:sldMk cId="2355376039" sldId="290"/>
            <ac:picMk id="8" creationId="{E0391AD6-30A9-1727-43AD-D80CD4AF99E4}"/>
          </ac:picMkLst>
        </pc:picChg>
      </pc:sldChg>
      <pc:sldChg chg="addSp modSp mod">
        <pc:chgData name="Roberto Gallardo" userId="49a044883f185952" providerId="LiveId" clId="{FA4B5990-F404-42ED-8DFB-1F9F3CB53222}" dt="2023-03-11T22:27:53.906" v="208" actId="1076"/>
        <pc:sldMkLst>
          <pc:docMk/>
          <pc:sldMk cId="3757257295" sldId="291"/>
        </pc:sldMkLst>
        <pc:picChg chg="add mod">
          <ac:chgData name="Roberto Gallardo" userId="49a044883f185952" providerId="LiveId" clId="{FA4B5990-F404-42ED-8DFB-1F9F3CB53222}" dt="2023-03-11T22:27:53.906" v="208" actId="1076"/>
          <ac:picMkLst>
            <pc:docMk/>
            <pc:sldMk cId="3757257295" sldId="291"/>
            <ac:picMk id="8" creationId="{DB5CD49D-12ED-81CF-4910-BE64D28CF304}"/>
          </ac:picMkLst>
        </pc:picChg>
      </pc:sldChg>
      <pc:sldChg chg="addSp modSp mod">
        <pc:chgData name="Roberto Gallardo" userId="49a044883f185952" providerId="LiveId" clId="{FA4B5990-F404-42ED-8DFB-1F9F3CB53222}" dt="2023-03-11T22:26:34.218" v="151" actId="1076"/>
        <pc:sldMkLst>
          <pc:docMk/>
          <pc:sldMk cId="1259856727" sldId="292"/>
        </pc:sldMkLst>
        <pc:picChg chg="add mod">
          <ac:chgData name="Roberto Gallardo" userId="49a044883f185952" providerId="LiveId" clId="{FA4B5990-F404-42ED-8DFB-1F9F3CB53222}" dt="2023-03-11T22:26:34.218" v="151" actId="1076"/>
          <ac:picMkLst>
            <pc:docMk/>
            <pc:sldMk cId="1259856727" sldId="292"/>
            <ac:picMk id="7" creationId="{2C5C3112-280B-9B4A-9E5B-B11D017E0EF6}"/>
          </ac:picMkLst>
        </pc:picChg>
      </pc:sldChg>
      <pc:sldChg chg="addSp modSp mod">
        <pc:chgData name="Roberto Gallardo" userId="49a044883f185952" providerId="LiveId" clId="{FA4B5990-F404-42ED-8DFB-1F9F3CB53222}" dt="2023-03-11T22:24:12.447" v="53" actId="1076"/>
        <pc:sldMkLst>
          <pc:docMk/>
          <pc:sldMk cId="3324519687" sldId="293"/>
        </pc:sldMkLst>
        <pc:picChg chg="add mod">
          <ac:chgData name="Roberto Gallardo" userId="49a044883f185952" providerId="LiveId" clId="{FA4B5990-F404-42ED-8DFB-1F9F3CB53222}" dt="2023-03-11T22:24:12.447" v="53" actId="1076"/>
          <ac:picMkLst>
            <pc:docMk/>
            <pc:sldMk cId="3324519687" sldId="293"/>
            <ac:picMk id="7" creationId="{3D25E014-A25C-7ADA-C5F9-63A70BB24CC7}"/>
          </ac:picMkLst>
        </pc:picChg>
      </pc:sldChg>
      <pc:sldChg chg="addSp modSp mod">
        <pc:chgData name="Roberto Gallardo" userId="49a044883f185952" providerId="LiveId" clId="{FA4B5990-F404-42ED-8DFB-1F9F3CB53222}" dt="2023-03-11T22:23:37.631" v="33" actId="1076"/>
        <pc:sldMkLst>
          <pc:docMk/>
          <pc:sldMk cId="3256182630" sldId="295"/>
        </pc:sldMkLst>
        <pc:picChg chg="add mod">
          <ac:chgData name="Roberto Gallardo" userId="49a044883f185952" providerId="LiveId" clId="{FA4B5990-F404-42ED-8DFB-1F9F3CB53222}" dt="2023-03-11T22:23:37.631" v="33" actId="1076"/>
          <ac:picMkLst>
            <pc:docMk/>
            <pc:sldMk cId="3256182630" sldId="295"/>
            <ac:picMk id="7" creationId="{1AF7D783-7778-DAD9-20D0-D7C6D73E165A}"/>
          </ac:picMkLst>
        </pc:picChg>
      </pc:sldChg>
      <pc:sldChg chg="addSp modSp mod">
        <pc:chgData name="Roberto Gallardo" userId="49a044883f185952" providerId="LiveId" clId="{FA4B5990-F404-42ED-8DFB-1F9F3CB53222}" dt="2023-03-11T22:23:54.860" v="42" actId="1076"/>
        <pc:sldMkLst>
          <pc:docMk/>
          <pc:sldMk cId="4057156843" sldId="296"/>
        </pc:sldMkLst>
        <pc:picChg chg="add mod">
          <ac:chgData name="Roberto Gallardo" userId="49a044883f185952" providerId="LiveId" clId="{FA4B5990-F404-42ED-8DFB-1F9F3CB53222}" dt="2023-03-11T22:23:54.860" v="42" actId="1076"/>
          <ac:picMkLst>
            <pc:docMk/>
            <pc:sldMk cId="4057156843" sldId="296"/>
            <ac:picMk id="7" creationId="{9DD95F48-1CAE-8060-E036-B4E43AF757FA}"/>
          </ac:picMkLst>
        </pc:picChg>
      </pc:sldChg>
      <pc:sldChg chg="addSp modSp mod">
        <pc:chgData name="Roberto Gallardo" userId="49a044883f185952" providerId="LiveId" clId="{FA4B5990-F404-42ED-8DFB-1F9F3CB53222}" dt="2023-03-11T22:23:22.150" v="25" actId="1076"/>
        <pc:sldMkLst>
          <pc:docMk/>
          <pc:sldMk cId="2080110827" sldId="297"/>
        </pc:sldMkLst>
        <pc:picChg chg="add mod">
          <ac:chgData name="Roberto Gallardo" userId="49a044883f185952" providerId="LiveId" clId="{FA4B5990-F404-42ED-8DFB-1F9F3CB53222}" dt="2023-03-11T22:23:22.150" v="25" actId="1076"/>
          <ac:picMkLst>
            <pc:docMk/>
            <pc:sldMk cId="2080110827" sldId="297"/>
            <ac:picMk id="6" creationId="{7E621F61-620C-8C41-A9A0-8DCEEA6CB99F}"/>
          </ac:picMkLst>
        </pc:picChg>
      </pc:sldChg>
      <pc:sldChg chg="addSp modSp mod">
        <pc:chgData name="Roberto Gallardo" userId="49a044883f185952" providerId="LiveId" clId="{FA4B5990-F404-42ED-8DFB-1F9F3CB53222}" dt="2023-03-11T22:23:07.395" v="16" actId="1076"/>
        <pc:sldMkLst>
          <pc:docMk/>
          <pc:sldMk cId="1532666867" sldId="298"/>
        </pc:sldMkLst>
        <pc:picChg chg="add mod">
          <ac:chgData name="Roberto Gallardo" userId="49a044883f185952" providerId="LiveId" clId="{FA4B5990-F404-42ED-8DFB-1F9F3CB53222}" dt="2023-03-11T22:23:07.395" v="16" actId="1076"/>
          <ac:picMkLst>
            <pc:docMk/>
            <pc:sldMk cId="1532666867" sldId="298"/>
            <ac:picMk id="6" creationId="{80A0FF07-6877-3E28-E8F0-EEC470190FDF}"/>
          </ac:picMkLst>
        </pc:picChg>
      </pc:sldChg>
      <pc:sldChg chg="addSp modSp mod">
        <pc:chgData name="Roberto Gallardo" userId="49a044883f185952" providerId="LiveId" clId="{FA4B5990-F404-42ED-8DFB-1F9F3CB53222}" dt="2023-03-11T22:27:17.294" v="182" actId="1076"/>
        <pc:sldMkLst>
          <pc:docMk/>
          <pc:sldMk cId="1951376777" sldId="299"/>
        </pc:sldMkLst>
        <pc:picChg chg="add mod">
          <ac:chgData name="Roberto Gallardo" userId="49a044883f185952" providerId="LiveId" clId="{FA4B5990-F404-42ED-8DFB-1F9F3CB53222}" dt="2023-03-11T22:27:17.294" v="182" actId="1076"/>
          <ac:picMkLst>
            <pc:docMk/>
            <pc:sldMk cId="1951376777" sldId="299"/>
            <ac:picMk id="7" creationId="{59CD3EC7-82D4-B66D-42B6-5DCE3E3148C6}"/>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Pitt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8C9A77C-E005-A1E9-FF45-DFF36F2CEC09}"/>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50852967-C066-7974-E58D-8306DDF82325}"/>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8CCEFA3A-8C38-CBB9-01D0-584F4A2111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0A0FF07-6877-3E28-E8F0-EEC470190F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E621F61-620C-8C41-A9A0-8DCEEA6CB9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29F55AD-715B-6A5D-4AD4-5F964EA441DB}"/>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1AF7D783-7778-DAD9-20D0-D7C6D73E16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62180F9-2705-AE70-E858-12BA3E90BA79}"/>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9DD95F48-1CAE-8060-E036-B4E43AF757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D1317D36-D5AF-EB08-9FD1-DF4AA6D58DD0}"/>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3D25E014-A25C-7ADA-C5F9-63A70BB24C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0EA6A04-5A3E-E108-A53B-0275ECB8A77B}"/>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97EEAE55-9BCA-D2E7-FF70-618E4A8F71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035"/>
            <a:ext cx="6400801" cy="4526373"/>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0CF247C-FF04-F774-D62B-201301C41F7F}"/>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4C54709A-0685-5E8D-6020-3628A06499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22A6903-9FF2-DDDA-C8D4-DFF0CB4718D0}"/>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038BA8DD-EF8D-D9F0-09F4-F001F2CC89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3EC7DB6-91DB-F29C-793E-F908760F790D}"/>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55272045-5D10-B53E-E74B-19DD8EBDCD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6A1B9E7-33F9-398B-7F91-44B1292D18C5}"/>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B15AA919-3B80-9165-ACFD-76074D62EF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389"/>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103955E-2978-B28D-1939-9CFDCB12C0CC}"/>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9738DC59-AD72-2DAD-EA92-E76ECF396A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1"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5085C91-808D-A08E-98CD-25EAA8084440}"/>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764E0C79-2343-3746-4C8E-74B1DD5FEA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49FC857-1BB7-6FE8-513A-86964F75A631}"/>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2C5C3112-280B-9B4A-9E5B-B11D017E0E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165" y="1422765"/>
            <a:ext cx="6391435" cy="451974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76760BB-2BE8-2878-F73F-025F7D07723B}"/>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F7863EBD-133F-14BA-9FDF-BE6B2133EB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C32D176-B765-E268-1AE8-FEBEA3CBE890}"/>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8B4E6FD9-42BC-D57A-BF7C-96F9D1C41A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D8E0D926-C96E-51E1-48CC-BF8F971A4348}"/>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59CD3EC7-82D4-B66D-42B6-5DCE3E3148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546"/>
            <a:ext cx="6401124" cy="452660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17DF94BA-D699-5398-EEB5-85D6B4466FE8}"/>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E0391AD6-30A9-1727-43AD-D80CD4AF99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335"/>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42CC9702-C340-69B2-00CF-4C0539E9A9FB}"/>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309BBC1C-9EC5-FAE5-FA33-5698DBA81128}"/>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DB5CD49D-12ED-81CF-4910-BE64D28CF3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9842" y="1412375"/>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DC4C4A80-50AC-5F07-0BB3-7BAF072B6BD5}"/>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083EDDA-C5F4-DA28-F4AE-660C949595CD}"/>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B4C0590-C9B8-C9C8-C885-225BEAD0E1F3}"/>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82371" y="1858529"/>
            <a:ext cx="1198148" cy="2563952"/>
            <a:chOff x="10485745" y="2326359"/>
            <a:chExt cx="1198148" cy="2563952"/>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1883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6</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32635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326359"/>
              <a:ext cx="0" cy="8924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11383"/>
              <a:ext cx="0" cy="77892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71044"/>
            <a:chOff x="2775759" y="2073763"/>
            <a:chExt cx="1198148" cy="2471044"/>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7376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73763"/>
              <a:ext cx="0" cy="80314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FA7A89EA-AF75-AA88-1615-44641768229C}"/>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4D1D2BCC-907B-D6C9-E09A-43D8618DA0FE}"/>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61E1477-1FFD-F27C-712E-BDE747EB4C10}"/>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1BFDFDA5-5D6C-76AB-9FB1-31054ADF4E60}"/>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B197A77-2775-1CF2-665C-7B0BDE9CB756}"/>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32E154A-C2CB-9A93-7F34-7E8367DB3A45}"/>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43521D2-A0BA-1E96-7F87-0CDE35DD3A33}"/>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5C0D60A5-3864-AE09-B99D-E1E8BE31E149}"/>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06</TotalTime>
  <Words>1463</Words>
  <Application>Microsoft Office PowerPoint</Application>
  <PresentationFormat>Widescreen</PresentationFormat>
  <Paragraphs>136</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51</cp:revision>
  <dcterms:created xsi:type="dcterms:W3CDTF">2022-07-04T13:32:28Z</dcterms:created>
  <dcterms:modified xsi:type="dcterms:W3CDTF">2023-03-11T22:27:55Z</dcterms:modified>
</cp:coreProperties>
</file>